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1"/>
    <p:sldMasterId id="2147483683" r:id="rId2"/>
    <p:sldMasterId id="2147483693" r:id="rId3"/>
    <p:sldMasterId id="2147483703" r:id="rId4"/>
    <p:sldMasterId id="2147483713" r:id="rId5"/>
  </p:sldMasterIdLst>
  <p:notesMasterIdLst>
    <p:notesMasterId r:id="rId14"/>
  </p:notesMasterIdLst>
  <p:handoutMasterIdLst>
    <p:handoutMasterId r:id="rId15"/>
  </p:handoutMasterIdLst>
  <p:sldIdLst>
    <p:sldId id="294" r:id="rId6"/>
    <p:sldId id="276" r:id="rId7"/>
    <p:sldId id="271" r:id="rId8"/>
    <p:sldId id="293" r:id="rId9"/>
    <p:sldId id="295" r:id="rId10"/>
    <p:sldId id="297" r:id="rId11"/>
    <p:sldId id="298" r:id="rId12"/>
    <p:sldId id="277" r:id="rId13"/>
  </p:sldIdLst>
  <p:sldSz cx="10691813" cy="7559675"/>
  <p:notesSz cx="6858000" cy="9144000"/>
  <p:custDataLst>
    <p:tags r:id="rId16"/>
  </p:custDataLst>
  <p:defaultTextStyle>
    <a:defPPr>
      <a:defRPr lang="cs-CZ"/>
    </a:defPPr>
    <a:lvl1pPr marL="0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37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74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114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487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6858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4172" userDrawn="1">
          <p15:clr>
            <a:srgbClr val="A4A3A4"/>
          </p15:clr>
        </p15:guide>
        <p15:guide id="3" orient="horz" pos="907" userDrawn="1">
          <p15:clr>
            <a:srgbClr val="A4A3A4"/>
          </p15:clr>
        </p15:guide>
        <p15:guide id="4" pos="216" userDrawn="1">
          <p15:clr>
            <a:srgbClr val="A4A3A4"/>
          </p15:clr>
        </p15:guide>
        <p15:guide id="5" pos="651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Světlý styl 2 – zvýraznění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Střední styl 1 – zvýraznění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80" autoAdjust="0"/>
    <p:restoredTop sz="95992" autoAdjust="0"/>
  </p:normalViewPr>
  <p:slideViewPr>
    <p:cSldViewPr snapToGrid="0">
      <p:cViewPr varScale="1">
        <p:scale>
          <a:sx n="104" d="100"/>
          <a:sy n="104" d="100"/>
        </p:scale>
        <p:origin x="1332" y="114"/>
      </p:cViewPr>
      <p:guideLst>
        <p:guide orient="horz" pos="4172"/>
        <p:guide orient="horz" pos="907"/>
        <p:guide pos="216"/>
        <p:guide pos="6519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>
        <p:scale>
          <a:sx n="75" d="100"/>
          <a:sy n="75" d="100"/>
        </p:scale>
        <p:origin x="2938" y="13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house\01_KLIENTI\SKODA\Monitoring\Vision%20iV\Monitoring%20v&#253;stupov%20-vision%20iV_05112019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>
                  <a:shade val="53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A6EA-4D3A-815F-6C47CA8361C7}"/>
              </c:ext>
            </c:extLst>
          </c:dPt>
          <c:dPt>
            <c:idx val="1"/>
            <c:bubble3D val="0"/>
            <c:spPr>
              <a:solidFill>
                <a:schemeClr val="accent6">
                  <a:shade val="76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6EA-4D3A-815F-6C47CA8361C7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A6EA-4D3A-815F-6C47CA8361C7}"/>
              </c:ext>
            </c:extLst>
          </c:dPt>
          <c:dPt>
            <c:idx val="3"/>
            <c:bubble3D val="0"/>
            <c:spPr>
              <a:solidFill>
                <a:schemeClr val="accent6">
                  <a:tint val="77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A6EA-4D3A-815F-6C47CA8361C7}"/>
              </c:ext>
            </c:extLst>
          </c:dPt>
          <c:dPt>
            <c:idx val="4"/>
            <c:bubble3D val="0"/>
            <c:spPr>
              <a:solidFill>
                <a:schemeClr val="accent6">
                  <a:tint val="54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A6EA-4D3A-815F-6C47CA8361C7}"/>
              </c:ext>
            </c:extLst>
          </c:dPt>
          <c:cat>
            <c:strRef>
              <c:f>Hárok1!$B$33:$B$37</c:f>
              <c:strCache>
                <c:ptCount val="5"/>
                <c:pt idx="0">
                  <c:v>online</c:v>
                </c:pt>
                <c:pt idx="1">
                  <c:v>print</c:v>
                </c:pt>
                <c:pt idx="2">
                  <c:v>FB</c:v>
                </c:pt>
                <c:pt idx="3">
                  <c:v>IG</c:v>
                </c:pt>
                <c:pt idx="4">
                  <c:v>YT</c:v>
                </c:pt>
              </c:strCache>
            </c:strRef>
          </c:cat>
          <c:val>
            <c:numRef>
              <c:f>Hárok1!$C$33:$C$37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1</c:v>
                </c:pt>
                <c:pt idx="3">
                  <c:v>5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6EA-4D3A-815F-6C47CA8361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839AC645-426F-485D-BF89-D5B06960D6A1}" type="datetimeFigureOut">
              <a:rPr lang="cs-CZ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27.12.2019</a:t>
            </a:fld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D4CF9FA0-453B-44E2-87EE-486FCDD97806}" type="slidenum">
              <a:rPr lang="cs-CZ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3872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3DF265A4-7ECE-4568-9246-39EF07969DAF}" type="datetimeFigureOut">
              <a:rPr lang="cs-CZ" smtClean="0"/>
              <a:pPr/>
              <a:t>27.12.2019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004888" y="685800"/>
            <a:ext cx="48482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noProof="0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7DCD363E-0387-4F03-A368-7EC1FE0C90C6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12837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1pPr>
    <a:lvl2pPr marL="179946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2pPr>
    <a:lvl3pPr marL="359892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3pPr>
    <a:lvl4pPr marL="539838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4pPr>
    <a:lvl5pPr marL="719784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5pPr>
    <a:lvl6pPr marL="2606858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CD363E-0387-4F03-A368-7EC1FE0C90C6}" type="slidenum">
              <a:rPr lang="en-GB" noProof="0" smtClean="0"/>
              <a:pPr/>
              <a:t>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79597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7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14654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752776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14220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7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22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 dirty="0"/>
          </a:p>
        </p:txBody>
      </p:sp>
      <p:sp>
        <p:nvSpPr>
          <p:cNvPr id="23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, oddělení, jméno, datum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3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50" y="2358000"/>
            <a:ext cx="6550076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22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 dirty="0"/>
          </a:p>
        </p:txBody>
      </p:sp>
      <p:sp>
        <p:nvSpPr>
          <p:cNvPr id="23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1449883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91284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133189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1"/>
            <a:ext cx="6551028" cy="5183049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9269268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9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88422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0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670627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7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50" y="2358000"/>
            <a:ext cx="6550076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107855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41063740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32750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86567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0770026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939114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7260744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573528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6327184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26004645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8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17319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1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490593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05308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48749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268817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8652397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7520210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8655594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332"/>
            <a:ext cx="4823696" cy="22313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332"/>
            <a:ext cx="4823696" cy="22313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7968176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470826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2787003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6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50" y="2358000"/>
            <a:ext cx="6550076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289696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/>
          <p:cNvGrpSpPr/>
          <p:nvPr userDrawn="1"/>
        </p:nvGrpSpPr>
        <p:grpSpPr>
          <a:xfrm>
            <a:off x="-1" y="-1905"/>
            <a:ext cx="10691994" cy="5870435"/>
            <a:chOff x="-1" y="-1905"/>
            <a:chExt cx="10691994" cy="5870435"/>
          </a:xfrm>
        </p:grpSpPr>
        <p:sp>
          <p:nvSpPr>
            <p:cNvPr id="28" name="Volný tvar 27"/>
            <p:cNvSpPr/>
            <p:nvPr userDrawn="1"/>
          </p:nvSpPr>
          <p:spPr>
            <a:xfrm>
              <a:off x="8671948" y="0"/>
              <a:ext cx="2019872" cy="3165168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9594" h="3165833">
                  <a:moveTo>
                    <a:pt x="2009594" y="0"/>
                  </a:moveTo>
                  <a:lnTo>
                    <a:pt x="860930" y="0"/>
                  </a:lnTo>
                  <a:lnTo>
                    <a:pt x="0" y="1896183"/>
                  </a:lnTo>
                  <a:lnTo>
                    <a:pt x="641930" y="3165833"/>
                  </a:lnTo>
                  <a:lnTo>
                    <a:pt x="2008576" y="3165833"/>
                  </a:lnTo>
                </a:path>
              </a:pathLst>
            </a:cu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8"/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Volný tvar 29"/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5220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Volný tvar 30"/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Obrázek 3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4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7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450880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4493685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60831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256701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394461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9496327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25683712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3099037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337353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6973257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684147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998053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</p:spTree>
    <p:extLst>
      <p:ext uri="{BB962C8B-B14F-4D97-AF65-F5344CB8AC3E}">
        <p14:creationId xmlns:p14="http://schemas.microsoft.com/office/powerpoint/2010/main" val="30364539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4968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vmlDrawing" Target="../drawings/vmlDrawing4.vm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2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vmlDrawing" Target="../drawings/vmlDrawing7.vml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2.gi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10.v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oleObject" Target="../embeddings/oleObject10.bin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2.gi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vmlDrawing" Target="../drawings/vmlDrawing13.vml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5.xml"/><Relationship Id="rId15" Type="http://schemas.openxmlformats.org/officeDocument/2006/relationships/oleObject" Target="../embeddings/oleObject13.bin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image" Target="../media/image2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3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 dirty="0"/>
              <a:t>Název prezentace, oddělení, jméno, datum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98608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36" r:id="rId2"/>
    <p:sldLayoutId id="214748373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581428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37" r:id="rId2"/>
    <p:sldLayoutId id="2147483686" r:id="rId3"/>
    <p:sldLayoutId id="2147483691" r:id="rId4"/>
    <p:sldLayoutId id="2147483692" r:id="rId5"/>
    <p:sldLayoutId id="2147483687" r:id="rId6"/>
    <p:sldLayoutId id="2147483688" r:id="rId7"/>
    <p:sldLayoutId id="2147483690" r:id="rId8"/>
    <p:sldLayoutId id="2147483689" r:id="rId9"/>
    <p:sldLayoutId id="2147483685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0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54138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38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8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457303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39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Skupina 12"/>
          <p:cNvGrpSpPr/>
          <p:nvPr userDrawn="1"/>
        </p:nvGrpSpPr>
        <p:grpSpPr>
          <a:xfrm>
            <a:off x="0" y="6961281"/>
            <a:ext cx="10693400" cy="599982"/>
            <a:chOff x="0" y="6961281"/>
            <a:chExt cx="10693400" cy="599982"/>
          </a:xfrm>
        </p:grpSpPr>
        <p:pic>
          <p:nvPicPr>
            <p:cNvPr id="20" name="Obrázek 19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7084105"/>
              <a:ext cx="1726779" cy="360000"/>
            </a:xfrm>
            <a:prstGeom prst="rect">
              <a:avLst/>
            </a:prstGeom>
          </p:spPr>
        </p:pic>
        <p:sp>
          <p:nvSpPr>
            <p:cNvPr id="21" name="Volný tvar 20"/>
            <p:cNvSpPr/>
            <p:nvPr userDrawn="1"/>
          </p:nvSpPr>
          <p:spPr>
            <a:xfrm>
              <a:off x="0" y="6961281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2" name="Volný tvar 21"/>
            <p:cNvSpPr/>
            <p:nvPr userDrawn="1"/>
          </p:nvSpPr>
          <p:spPr>
            <a:xfrm>
              <a:off x="1907202" y="7204157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sp>
          <p:nvSpPr>
            <p:cNvPr id="23" name="Volný tvar 22"/>
            <p:cNvSpPr/>
            <p:nvPr userDrawn="1"/>
          </p:nvSpPr>
          <p:spPr>
            <a:xfrm>
              <a:off x="3635636" y="6964787"/>
              <a:ext cx="4772907" cy="239370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07650" h="239370">
                  <a:moveTo>
                    <a:pt x="0" y="410"/>
                  </a:moveTo>
                  <a:lnTo>
                    <a:pt x="4587596" y="239370"/>
                  </a:lnTo>
                  <a:lnTo>
                    <a:pt x="4707650" y="0"/>
                  </a:lnTo>
                  <a:lnTo>
                    <a:pt x="0" y="410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/>
            </a:p>
          </p:txBody>
        </p:sp>
        <p:cxnSp>
          <p:nvCxnSpPr>
            <p:cNvPr id="24" name="Přímá spojnice 23"/>
            <p:cNvCxnSpPr/>
            <p:nvPr userDrawn="1"/>
          </p:nvCxnSpPr>
          <p:spPr>
            <a:xfrm flipH="1" flipV="1">
              <a:off x="8389400" y="6966692"/>
              <a:ext cx="2304000" cy="402"/>
            </a:xfrm>
            <a:prstGeom prst="line">
              <a:avLst/>
            </a:prstGeom>
            <a:ln w="6350">
              <a:solidFill>
                <a:srgbClr val="C3C3C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6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/>
              <a:t>Název prezentace, oddělení, jméno, datum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096328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40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41948" y="1062983"/>
            <a:ext cx="8278865" cy="540000"/>
          </a:xfrm>
        </p:spPr>
        <p:txBody>
          <a:bodyPr/>
          <a:lstStyle/>
          <a:p>
            <a:r>
              <a:rPr lang="cs-CZ" dirty="0"/>
              <a:t>Vision </a:t>
            </a:r>
            <a:r>
              <a:rPr lang="cs-CZ" dirty="0" err="1"/>
              <a:t>iV</a:t>
            </a:r>
            <a:endParaRPr lang="cs-CZ" dirty="0"/>
          </a:p>
        </p:txBody>
      </p:sp>
      <p:sp>
        <p:nvSpPr>
          <p:cNvPr id="8" name="Zástupný symbol pro číslo snímku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1</a:t>
            </a:fld>
            <a:endParaRPr lang="cs-CZ" noProof="0" dirty="0"/>
          </a:p>
        </p:txBody>
      </p:sp>
      <p:sp>
        <p:nvSpPr>
          <p:cNvPr id="9" name="Zástupný symbol pro zápatí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noProof="0" dirty="0"/>
              <a:t>Název prezentace, oddělení, jméno, </a:t>
            </a:r>
          </a:p>
        </p:txBody>
      </p:sp>
      <p:pic>
        <p:nvPicPr>
          <p:cNvPr id="11" name="Obrázok 10">
            <a:extLst>
              <a:ext uri="{FF2B5EF4-FFF2-40B4-BE49-F238E27FC236}">
                <a16:creationId xmlns:a16="http://schemas.microsoft.com/office/drawing/2014/main" id="{4D0139D3-3975-4705-B35F-B999E783DCD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" t="4658"/>
          <a:stretch/>
        </p:blipFill>
        <p:spPr>
          <a:xfrm>
            <a:off x="-1" y="3051958"/>
            <a:ext cx="10691813" cy="389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8985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2</a:t>
            </a:fld>
            <a:endParaRPr lang="cs-CZ" dirty="0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Vision </a:t>
            </a:r>
            <a:r>
              <a:rPr lang="cs-CZ" dirty="0" err="1"/>
              <a:t>iV</a:t>
            </a:r>
            <a:endParaRPr lang="cs-CZ" dirty="0"/>
          </a:p>
        </p:txBody>
      </p:sp>
      <p:sp>
        <p:nvSpPr>
          <p:cNvPr id="7" name="Nadpis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>
                <a:solidFill>
                  <a:schemeClr val="accent6"/>
                </a:solidFill>
              </a:rPr>
              <a:t>Počet výstupov 14</a:t>
            </a:r>
            <a:endParaRPr lang="cs-CZ" dirty="0"/>
          </a:p>
        </p:txBody>
      </p:sp>
      <p:sp>
        <p:nvSpPr>
          <p:cNvPr id="10" name="Obdĺžnik 9">
            <a:extLst>
              <a:ext uri="{FF2B5EF4-FFF2-40B4-BE49-F238E27FC236}">
                <a16:creationId xmlns:a16="http://schemas.microsoft.com/office/drawing/2014/main" id="{072F552E-23A5-41E5-A517-5C7FE5917326}"/>
              </a:ext>
            </a:extLst>
          </p:cNvPr>
          <p:cNvSpPr/>
          <p:nvPr/>
        </p:nvSpPr>
        <p:spPr>
          <a:xfrm>
            <a:off x="6536770" y="1767975"/>
            <a:ext cx="5343525" cy="17081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dirty="0"/>
              <a:t>online	3</a:t>
            </a:r>
          </a:p>
          <a:p>
            <a:r>
              <a:rPr lang="de-DE" dirty="0" err="1"/>
              <a:t>print</a:t>
            </a:r>
            <a:r>
              <a:rPr lang="de-DE" dirty="0"/>
              <a:t>	4</a:t>
            </a:r>
          </a:p>
          <a:p>
            <a:r>
              <a:rPr lang="de-DE" dirty="0"/>
              <a:t>FB	1</a:t>
            </a:r>
          </a:p>
          <a:p>
            <a:r>
              <a:rPr lang="de-DE" dirty="0"/>
              <a:t>IG	5</a:t>
            </a:r>
          </a:p>
          <a:p>
            <a:r>
              <a:rPr lang="de-DE" dirty="0"/>
              <a:t>YT	1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3B0D5667-0DF0-4C05-AD9D-59E5B8F71C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6473114"/>
              </p:ext>
            </p:extLst>
          </p:nvPr>
        </p:nvGraphicFramePr>
        <p:xfrm>
          <a:off x="901922" y="176797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746752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3</a:t>
            </a:fld>
            <a:endParaRPr lang="cs-CZ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Vision </a:t>
            </a:r>
            <a:r>
              <a:rPr lang="cs-CZ" dirty="0" err="1"/>
              <a:t>iV</a:t>
            </a:r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>
                <a:solidFill>
                  <a:schemeClr val="accent6"/>
                </a:solidFill>
              </a:rPr>
              <a:t>Ukážka výstupov - online</a:t>
            </a:r>
            <a:endParaRPr lang="cs-CZ" dirty="0"/>
          </a:p>
        </p:txBody>
      </p:sp>
      <p:pic>
        <p:nvPicPr>
          <p:cNvPr id="8" name="Obrázok 7">
            <a:extLst>
              <a:ext uri="{FF2B5EF4-FFF2-40B4-BE49-F238E27FC236}">
                <a16:creationId xmlns:a16="http://schemas.microsoft.com/office/drawing/2014/main" id="{C2649C55-3B08-4111-B00C-C8DAD8680F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29" y="1225222"/>
            <a:ext cx="4000486" cy="4150563"/>
          </a:xfrm>
          <a:prstGeom prst="rect">
            <a:avLst/>
          </a:prstGeom>
        </p:spPr>
      </p:pic>
      <p:pic>
        <p:nvPicPr>
          <p:cNvPr id="13" name="Obrázok 12">
            <a:extLst>
              <a:ext uri="{FF2B5EF4-FFF2-40B4-BE49-F238E27FC236}">
                <a16:creationId xmlns:a16="http://schemas.microsoft.com/office/drawing/2014/main" id="{F578EB5F-D78D-4088-A95B-1A0DAAC89D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514" y="1225222"/>
            <a:ext cx="4000486" cy="4686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1793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4</a:t>
            </a:fld>
            <a:endParaRPr lang="cs-CZ" dirty="0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Vision </a:t>
            </a:r>
            <a:r>
              <a:rPr lang="cs-CZ" dirty="0" err="1"/>
              <a:t>iV</a:t>
            </a:r>
            <a:endParaRPr lang="cs-CZ" dirty="0"/>
          </a:p>
        </p:txBody>
      </p:sp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>
                <a:solidFill>
                  <a:schemeClr val="accent6"/>
                </a:solidFill>
              </a:rPr>
              <a:t>Ukážka výstupov - </a:t>
            </a:r>
            <a:r>
              <a:rPr lang="sk-SK" dirty="0" err="1">
                <a:solidFill>
                  <a:schemeClr val="accent6"/>
                </a:solidFill>
              </a:rPr>
              <a:t>print</a:t>
            </a:r>
            <a:endParaRPr lang="cs-CZ" dirty="0"/>
          </a:p>
        </p:txBody>
      </p:sp>
      <p:pic>
        <p:nvPicPr>
          <p:cNvPr id="6" name="Obrázok 5">
            <a:extLst>
              <a:ext uri="{FF2B5EF4-FFF2-40B4-BE49-F238E27FC236}">
                <a16:creationId xmlns:a16="http://schemas.microsoft.com/office/drawing/2014/main" id="{F1567991-526C-4ACC-8D9A-F08413B5F7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574" y="1432721"/>
            <a:ext cx="4237041" cy="4514723"/>
          </a:xfrm>
          <a:prstGeom prst="rect">
            <a:avLst/>
          </a:prstGeom>
        </p:spPr>
      </p:pic>
      <p:pic>
        <p:nvPicPr>
          <p:cNvPr id="8" name="Obrázok 7">
            <a:extLst>
              <a:ext uri="{FF2B5EF4-FFF2-40B4-BE49-F238E27FC236}">
                <a16:creationId xmlns:a16="http://schemas.microsoft.com/office/drawing/2014/main" id="{B063F4A0-EEF1-4D00-87E6-66FAE2ADB5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3490" y="1432721"/>
            <a:ext cx="3033786" cy="4478208"/>
          </a:xfrm>
          <a:prstGeom prst="rect">
            <a:avLst/>
          </a:prstGeom>
        </p:spPr>
      </p:pic>
      <p:pic>
        <p:nvPicPr>
          <p:cNvPr id="11" name="Obrázok 10">
            <a:extLst>
              <a:ext uri="{FF2B5EF4-FFF2-40B4-BE49-F238E27FC236}">
                <a16:creationId xmlns:a16="http://schemas.microsoft.com/office/drawing/2014/main" id="{3CC7740E-EC95-442F-96EF-DB26C33978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0458" y="1734709"/>
            <a:ext cx="1816188" cy="3700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9122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číslo snímky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5</a:t>
            </a:fld>
            <a:endParaRPr lang="cs-CZ" dirty="0"/>
          </a:p>
        </p:txBody>
      </p:sp>
      <p:sp>
        <p:nvSpPr>
          <p:cNvPr id="3" name="Zástupný objekt pre pät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Vision </a:t>
            </a:r>
            <a:r>
              <a:rPr lang="cs-CZ" dirty="0" err="1"/>
              <a:t>iV</a:t>
            </a:r>
            <a:endParaRPr lang="cs-CZ" dirty="0"/>
          </a:p>
        </p:txBody>
      </p:sp>
      <p:sp>
        <p:nvSpPr>
          <p:cNvPr id="7" name="Nadpis 6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</p:spPr>
        <p:txBody>
          <a:bodyPr/>
          <a:lstStyle/>
          <a:p>
            <a:r>
              <a:rPr lang="sk-SK" dirty="0">
                <a:solidFill>
                  <a:schemeClr val="accent6"/>
                </a:solidFill>
              </a:rPr>
              <a:t>Ukážka výstupov - Instagram</a:t>
            </a:r>
            <a:endParaRPr lang="cs-CZ" dirty="0"/>
          </a:p>
        </p:txBody>
      </p:sp>
      <p:pic>
        <p:nvPicPr>
          <p:cNvPr id="6" name="Obrázok 5">
            <a:extLst>
              <a:ext uri="{FF2B5EF4-FFF2-40B4-BE49-F238E27FC236}">
                <a16:creationId xmlns:a16="http://schemas.microsoft.com/office/drawing/2014/main" id="{6B95C57F-9909-4B86-9959-DA93879F510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1" t="3603" r="2747" b="4718"/>
          <a:stretch/>
        </p:blipFill>
        <p:spPr>
          <a:xfrm>
            <a:off x="415635" y="2262908"/>
            <a:ext cx="4930271" cy="3953165"/>
          </a:xfrm>
          <a:prstGeom prst="rect">
            <a:avLst/>
          </a:prstGeom>
        </p:spPr>
      </p:pic>
      <p:pic>
        <p:nvPicPr>
          <p:cNvPr id="10" name="Obrázok 9">
            <a:extLst>
              <a:ext uri="{FF2B5EF4-FFF2-40B4-BE49-F238E27FC236}">
                <a16:creationId xmlns:a16="http://schemas.microsoft.com/office/drawing/2014/main" id="{70DBC171-AE6E-425B-BF68-86E8B6E3940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2" t="2862" r="732"/>
          <a:stretch/>
        </p:blipFill>
        <p:spPr>
          <a:xfrm>
            <a:off x="5080000" y="1228436"/>
            <a:ext cx="5098473" cy="2996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687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číslo snímky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6</a:t>
            </a:fld>
            <a:endParaRPr lang="cs-CZ" dirty="0"/>
          </a:p>
        </p:txBody>
      </p:sp>
      <p:sp>
        <p:nvSpPr>
          <p:cNvPr id="3" name="Zástupný objekt pre pät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Vision </a:t>
            </a:r>
            <a:r>
              <a:rPr lang="cs-CZ" dirty="0" err="1"/>
              <a:t>iV</a:t>
            </a:r>
            <a:endParaRPr lang="cs-CZ" dirty="0"/>
          </a:p>
        </p:txBody>
      </p:sp>
      <p:sp>
        <p:nvSpPr>
          <p:cNvPr id="7" name="Nadpis 6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</p:spPr>
        <p:txBody>
          <a:bodyPr/>
          <a:lstStyle/>
          <a:p>
            <a:r>
              <a:rPr lang="sk-SK" dirty="0">
                <a:solidFill>
                  <a:schemeClr val="accent6"/>
                </a:solidFill>
              </a:rPr>
              <a:t>Ukážka výstupov - Facebook</a:t>
            </a:r>
            <a:endParaRPr lang="cs-CZ" dirty="0"/>
          </a:p>
        </p:txBody>
      </p:sp>
      <p:pic>
        <p:nvPicPr>
          <p:cNvPr id="8" name="Obrázok 7">
            <a:extLst>
              <a:ext uri="{FF2B5EF4-FFF2-40B4-BE49-F238E27FC236}">
                <a16:creationId xmlns:a16="http://schemas.microsoft.com/office/drawing/2014/main" id="{6164CD30-ACA3-4ED0-B861-942A504DBC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49" y="1359569"/>
            <a:ext cx="6795605" cy="3618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285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číslo snímky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7</a:t>
            </a:fld>
            <a:endParaRPr lang="cs-CZ" dirty="0"/>
          </a:p>
        </p:txBody>
      </p:sp>
      <p:sp>
        <p:nvSpPr>
          <p:cNvPr id="3" name="Zástupný objekt pre pät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Vision </a:t>
            </a:r>
            <a:r>
              <a:rPr lang="cs-CZ" dirty="0" err="1"/>
              <a:t>iV</a:t>
            </a:r>
            <a:endParaRPr lang="cs-CZ" dirty="0"/>
          </a:p>
        </p:txBody>
      </p:sp>
      <p:sp>
        <p:nvSpPr>
          <p:cNvPr id="7" name="Nadpis 6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</p:spPr>
        <p:txBody>
          <a:bodyPr/>
          <a:lstStyle/>
          <a:p>
            <a:r>
              <a:rPr lang="sk-SK" dirty="0">
                <a:solidFill>
                  <a:schemeClr val="accent6"/>
                </a:solidFill>
              </a:rPr>
              <a:t>Ukážka výstupov - </a:t>
            </a:r>
            <a:r>
              <a:rPr lang="sk-SK" dirty="0" err="1">
                <a:solidFill>
                  <a:schemeClr val="accent6"/>
                </a:solidFill>
              </a:rPr>
              <a:t>Youtube</a:t>
            </a:r>
            <a:endParaRPr lang="cs-CZ" dirty="0"/>
          </a:p>
        </p:txBody>
      </p:sp>
      <p:pic>
        <p:nvPicPr>
          <p:cNvPr id="6" name="Obrázok 5">
            <a:extLst>
              <a:ext uri="{FF2B5EF4-FFF2-40B4-BE49-F238E27FC236}">
                <a16:creationId xmlns:a16="http://schemas.microsoft.com/office/drawing/2014/main" id="{65684F40-39A2-411C-8B5E-1EF665F9ED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49" y="1395663"/>
            <a:ext cx="6436693" cy="4200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5924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8</a:t>
            </a:fld>
            <a:endParaRPr lang="cs-CZ" dirty="0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/>
          <a:p>
            <a:r>
              <a:rPr lang="cs-CZ" dirty="0"/>
              <a:t>Vision </a:t>
            </a:r>
            <a:r>
              <a:rPr lang="cs-CZ" dirty="0" err="1"/>
              <a:t>iV</a:t>
            </a:r>
            <a:endParaRPr lang="cs-CZ" dirty="0"/>
          </a:p>
        </p:txBody>
      </p:sp>
      <p:pic>
        <p:nvPicPr>
          <p:cNvPr id="5" name="Obrázok 4">
            <a:extLst>
              <a:ext uri="{FF2B5EF4-FFF2-40B4-BE49-F238E27FC236}">
                <a16:creationId xmlns:a16="http://schemas.microsoft.com/office/drawing/2014/main" id="{0C4D5A02-8D25-405E-A6B1-091B0690D87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58"/>
          <a:stretch/>
        </p:blipFill>
        <p:spPr>
          <a:xfrm>
            <a:off x="34997" y="1"/>
            <a:ext cx="10586821" cy="6954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9867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ŠKODA A4 Landscape CI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3E881CF6-D04C-455F-8B0E-E72509443B69}"/>
    </a:ext>
  </a:extLst>
</a:theme>
</file>

<file path=ppt/theme/theme2.xml><?xml version="1.0" encoding="utf-8"?>
<a:theme xmlns:a="http://schemas.openxmlformats.org/drawingml/2006/main" name="ŠKODA A4 Landscape BLUE">
  <a:themeElements>
    <a:clrScheme name="ŠKODA BLUE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0090D7"/>
      </a:accent1>
      <a:accent2>
        <a:srgbClr val="004F76"/>
      </a:accent2>
      <a:accent3>
        <a:srgbClr val="7EC9F1"/>
      </a:accent3>
      <a:accent4>
        <a:srgbClr val="777777"/>
      </a:accent4>
      <a:accent5>
        <a:srgbClr val="4A4A4A"/>
      </a:accent5>
      <a:accent6>
        <a:srgbClr val="B8B8B8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BLUE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0090D7"/>
        </a:accent1>
        <a:accent2>
          <a:srgbClr val="004F76"/>
        </a:accent2>
        <a:accent3>
          <a:srgbClr val="7EC9F1"/>
        </a:accent3>
        <a:accent4>
          <a:srgbClr val="777777"/>
        </a:accent4>
        <a:accent5>
          <a:srgbClr val="4A4A4A"/>
        </a:accent5>
        <a:accent6>
          <a:srgbClr val="004F7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50AA65BF-6706-473E-950C-15C019C2E25A}"/>
    </a:ext>
  </a:extLst>
</a:theme>
</file>

<file path=ppt/theme/theme3.xml><?xml version="1.0" encoding="utf-8"?>
<a:theme xmlns:a="http://schemas.openxmlformats.org/drawingml/2006/main" name="ŠKODA A4 Landscape RED">
  <a:themeElements>
    <a:clrScheme name="ŠKODA RED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E62336"/>
      </a:accent1>
      <a:accent2>
        <a:srgbClr val="B00835"/>
      </a:accent2>
      <a:accent3>
        <a:srgbClr val="EA5167"/>
      </a:accent3>
      <a:accent4>
        <a:srgbClr val="E5D1A2"/>
      </a:accent4>
      <a:accent5>
        <a:srgbClr val="878787"/>
      </a:accent5>
      <a:accent6>
        <a:srgbClr val="CECEC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RED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E62336"/>
        </a:accent1>
        <a:accent2>
          <a:srgbClr val="B00835"/>
        </a:accent2>
        <a:accent3>
          <a:srgbClr val="EA5167"/>
        </a:accent3>
        <a:accent4>
          <a:srgbClr val="E5D1A2"/>
        </a:accent4>
        <a:accent5>
          <a:srgbClr val="878787"/>
        </a:accent5>
        <a:accent6>
          <a:srgbClr val="CECEC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02E8CB0F-18E1-494A-84B7-3E01E5CC6622}"/>
    </a:ext>
  </a:extLst>
</a:theme>
</file>

<file path=ppt/theme/theme4.xml><?xml version="1.0" encoding="utf-8"?>
<a:theme xmlns:a="http://schemas.openxmlformats.org/drawingml/2006/main" name="ŠKODA A4 Landscape YELLOW">
  <a:themeElements>
    <a:clrScheme name="ŠKODA YELLOW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3DA44"/>
      </a:accent1>
      <a:accent2>
        <a:srgbClr val="A2C617"/>
      </a:accent2>
      <a:accent3>
        <a:srgbClr val="FFDF43"/>
      </a:accent3>
      <a:accent4>
        <a:srgbClr val="FFF374"/>
      </a:accent4>
      <a:accent5>
        <a:srgbClr val="9D9D9D"/>
      </a:accent5>
      <a:accent6>
        <a:srgbClr val="B2B2B2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YELLOW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3DA44"/>
        </a:accent1>
        <a:accent2>
          <a:srgbClr val="A2C617"/>
        </a:accent2>
        <a:accent3>
          <a:srgbClr val="FFDF43"/>
        </a:accent3>
        <a:accent4>
          <a:srgbClr val="FFF374"/>
        </a:accent4>
        <a:accent5>
          <a:srgbClr val="9D9D9D"/>
        </a:accent5>
        <a:accent6>
          <a:srgbClr val="B2B2B2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F162132D-C9BF-4EB7-A17D-1CE997F239E4}"/>
    </a:ext>
  </a:extLst>
</a:theme>
</file>

<file path=ppt/theme/theme5.xml><?xml version="1.0" encoding="utf-8"?>
<a:theme xmlns:a="http://schemas.openxmlformats.org/drawingml/2006/main" name="ŠKODA A4 Landscape TURQUOIS">
  <a:themeElements>
    <a:clrScheme name="ŠKODA TURQUOIS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15AF97"/>
      </a:accent1>
      <a:accent2>
        <a:srgbClr val="008A83"/>
      </a:accent2>
      <a:accent3>
        <a:srgbClr val="76B4AF"/>
      </a:accent3>
      <a:accent4>
        <a:srgbClr val="74A3A1"/>
      </a:accent4>
      <a:accent5>
        <a:srgbClr val="706F6F"/>
      </a:accent5>
      <a:accent6>
        <a:srgbClr val="B2B2B2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TURQUOIS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15AF97"/>
        </a:accent1>
        <a:accent2>
          <a:srgbClr val="008A83"/>
        </a:accent2>
        <a:accent3>
          <a:srgbClr val="76B4AF"/>
        </a:accent3>
        <a:accent4>
          <a:srgbClr val="74A3A1"/>
        </a:accent4>
        <a:accent5>
          <a:srgbClr val="706F6F"/>
        </a:accent5>
        <a:accent6>
          <a:srgbClr val="B2B2B2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-SKODA_Next_B.potx" id="{1546329A-B451-405E-80E8-ED351D8D999A}" vid="{F561B771-4730-4117-80D4-26D65244396D}"/>
    </a:ext>
  </a:extLst>
</a:theme>
</file>

<file path=ppt/theme/theme6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</a:theme>
</file>

<file path=ppt/theme/theme7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KODA_Next_Na_sirku</Template>
  <TotalTime>183</TotalTime>
  <Words>72</Words>
  <Application>Microsoft Office PowerPoint</Application>
  <PresentationFormat>Vlastná</PresentationFormat>
  <Paragraphs>30</Paragraphs>
  <Slides>8</Slides>
  <Notes>1</Notes>
  <HiddenSlides>0</HiddenSlides>
  <MMClips>0</MMClips>
  <ScaleCrop>false</ScaleCrop>
  <HeadingPairs>
    <vt:vector size="8" baseType="variant">
      <vt:variant>
        <vt:lpstr>Použité písma</vt:lpstr>
      </vt:variant>
      <vt:variant>
        <vt:i4>3</vt:i4>
      </vt:variant>
      <vt:variant>
        <vt:lpstr>Motív</vt:lpstr>
      </vt:variant>
      <vt:variant>
        <vt:i4>5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8</vt:i4>
      </vt:variant>
    </vt:vector>
  </HeadingPairs>
  <TitlesOfParts>
    <vt:vector size="17" baseType="lpstr">
      <vt:lpstr>Arial</vt:lpstr>
      <vt:lpstr>SKODA Next</vt:lpstr>
      <vt:lpstr>Wingdings</vt:lpstr>
      <vt:lpstr>ŠKODA A4 Landscape CI</vt:lpstr>
      <vt:lpstr>ŠKODA A4 Landscape BLUE</vt:lpstr>
      <vt:lpstr>ŠKODA A4 Landscape RED</vt:lpstr>
      <vt:lpstr>ŠKODA A4 Landscape YELLOW</vt:lpstr>
      <vt:lpstr>ŠKODA A4 Landscape TURQUOIS</vt:lpstr>
      <vt:lpstr>think-cell Slide</vt:lpstr>
      <vt:lpstr>Vision iV</vt:lpstr>
      <vt:lpstr>Počet výstupov 14</vt:lpstr>
      <vt:lpstr>Ukážka výstupov - online</vt:lpstr>
      <vt:lpstr>Ukážka výstupov - print</vt:lpstr>
      <vt:lpstr>Ukážka výstupov - Instagram</vt:lpstr>
      <vt:lpstr>Ukážka výstupov - Facebook</vt:lpstr>
      <vt:lpstr>Ukážka výstupov - Youtube</vt:lpstr>
      <vt:lpstr>Prezentácia programu PowerPoin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ŠKODA SCALA</dc:title>
  <dc:creator>Rusnakova, Karina (SAS V)</dc:creator>
  <cp:lastModifiedBy>Lubomir Sulko</cp:lastModifiedBy>
  <cp:revision>27</cp:revision>
  <dcterms:created xsi:type="dcterms:W3CDTF">2019-01-24T12:41:08Z</dcterms:created>
  <dcterms:modified xsi:type="dcterms:W3CDTF">2019-12-27T09:01:27Z</dcterms:modified>
</cp:coreProperties>
</file>